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73"/>
  </p:notesMasterIdLst>
  <p:sldIdLst>
    <p:sldId id="398" r:id="rId2"/>
    <p:sldId id="500" r:id="rId3"/>
    <p:sldId id="499" r:id="rId4"/>
    <p:sldId id="497" r:id="rId5"/>
    <p:sldId id="495" r:id="rId6"/>
    <p:sldId id="496" r:id="rId7"/>
    <p:sldId id="498" r:id="rId8"/>
    <p:sldId id="459" r:id="rId9"/>
    <p:sldId id="461" r:id="rId10"/>
    <p:sldId id="465" r:id="rId11"/>
    <p:sldId id="463" r:id="rId12"/>
    <p:sldId id="464" r:id="rId13"/>
    <p:sldId id="493" r:id="rId14"/>
    <p:sldId id="494" r:id="rId15"/>
    <p:sldId id="434" r:id="rId16"/>
    <p:sldId id="432" r:id="rId17"/>
    <p:sldId id="433" r:id="rId18"/>
    <p:sldId id="412" r:id="rId19"/>
    <p:sldId id="419" r:id="rId20"/>
    <p:sldId id="482" r:id="rId21"/>
    <p:sldId id="483" r:id="rId22"/>
    <p:sldId id="484" r:id="rId23"/>
    <p:sldId id="486" r:id="rId24"/>
    <p:sldId id="487" r:id="rId25"/>
    <p:sldId id="488" r:id="rId26"/>
    <p:sldId id="489" r:id="rId27"/>
    <p:sldId id="490" r:id="rId28"/>
    <p:sldId id="491" r:id="rId29"/>
    <p:sldId id="492" r:id="rId30"/>
    <p:sldId id="402" r:id="rId31"/>
    <p:sldId id="501" r:id="rId32"/>
    <p:sldId id="502" r:id="rId33"/>
    <p:sldId id="404" r:id="rId34"/>
    <p:sldId id="403" r:id="rId35"/>
    <p:sldId id="453" r:id="rId36"/>
    <p:sldId id="454" r:id="rId37"/>
    <p:sldId id="455" r:id="rId38"/>
    <p:sldId id="456" r:id="rId39"/>
    <p:sldId id="443" r:id="rId40"/>
    <p:sldId id="445" r:id="rId41"/>
    <p:sldId id="405" r:id="rId42"/>
    <p:sldId id="447" r:id="rId43"/>
    <p:sldId id="448" r:id="rId44"/>
    <p:sldId id="449" r:id="rId45"/>
    <p:sldId id="450" r:id="rId46"/>
    <p:sldId id="479" r:id="rId47"/>
    <p:sldId id="480" r:id="rId48"/>
    <p:sldId id="406" r:id="rId49"/>
    <p:sldId id="457" r:id="rId50"/>
    <p:sldId id="473" r:id="rId51"/>
    <p:sldId id="474" r:id="rId52"/>
    <p:sldId id="475" r:id="rId53"/>
    <p:sldId id="476" r:id="rId54"/>
    <p:sldId id="504" r:id="rId55"/>
    <p:sldId id="477" r:id="rId56"/>
    <p:sldId id="408" r:id="rId57"/>
    <p:sldId id="458" r:id="rId58"/>
    <p:sldId id="407" r:id="rId59"/>
    <p:sldId id="470" r:id="rId60"/>
    <p:sldId id="471" r:id="rId61"/>
    <p:sldId id="481" r:id="rId62"/>
    <p:sldId id="478" r:id="rId63"/>
    <p:sldId id="401" r:id="rId64"/>
    <p:sldId id="409" r:id="rId65"/>
    <p:sldId id="410" r:id="rId66"/>
    <p:sldId id="418" r:id="rId67"/>
    <p:sldId id="451" r:id="rId68"/>
    <p:sldId id="466" r:id="rId69"/>
    <p:sldId id="468" r:id="rId70"/>
    <p:sldId id="469" r:id="rId71"/>
    <p:sldId id="503" r:id="rId72"/>
  </p:sldIdLst>
  <p:sldSz cx="9144000" cy="6858000" type="screen4x3"/>
  <p:notesSz cx="6794500" cy="9931400"/>
  <p:custDataLst>
    <p:tags r:id="rId7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CC"/>
    <a:srgbClr val="F0C8FC"/>
    <a:srgbClr val="CCFFCC"/>
    <a:srgbClr val="3366FF"/>
    <a:srgbClr val="0000FF"/>
    <a:srgbClr val="00CC00"/>
    <a:srgbClr val="DDFFDD"/>
    <a:srgbClr val="FFFF99"/>
    <a:srgbClr val="00FF00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41" autoAdjust="0"/>
    <p:restoredTop sz="96238" autoAdjust="0"/>
  </p:normalViewPr>
  <p:slideViewPr>
    <p:cSldViewPr showGuides="1">
      <p:cViewPr varScale="1">
        <p:scale>
          <a:sx n="107" d="100"/>
          <a:sy n="107" d="100"/>
        </p:scale>
        <p:origin x="2094" y="9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1628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notesMaster" Target="notesMasters/notesMaster1.xml"/><Relationship Id="rId78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6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35110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2427601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Behavior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BCABCA-1510-4BD2-A643-878B335C93CC}"/>
              </a:ext>
            </a:extLst>
          </p:cNvPr>
          <p:cNvSpPr/>
          <p:nvPr/>
        </p:nvSpPr>
        <p:spPr>
          <a:xfrm>
            <a:off x="2628000" y="2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ake note of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witches if specified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C8BBDC3-092C-4E0E-9106-5FE84B6C724A}"/>
              </a:ext>
            </a:extLst>
          </p:cNvPr>
          <p:cNvCxnSpPr>
            <a:cxnSpLocks/>
          </p:cNvCxnSpPr>
          <p:nvPr/>
        </p:nvCxnSpPr>
        <p:spPr>
          <a:xfrm>
            <a:off x="3636000" y="693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DEEF7DD9-0F09-4832-9A45-3EFFC0D358BE}"/>
              </a:ext>
            </a:extLst>
          </p:cNvPr>
          <p:cNvSpPr/>
          <p:nvPr/>
        </p:nvSpPr>
        <p:spPr>
          <a:xfrm>
            <a:off x="2628000" y="1269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itialize all system variable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F9731D7-7908-483E-93FC-67CE2AF5385D}"/>
              </a:ext>
            </a:extLst>
          </p:cNvPr>
          <p:cNvSpPr/>
          <p:nvPr/>
        </p:nvSpPr>
        <p:spPr>
          <a:xfrm>
            <a:off x="2628000" y="1701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trieve memorized locale inf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country, language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</a:t>
            </a:r>
            <a:r>
              <a:rPr lang="en-US" sz="1000" b="1" dirty="0" err="1">
                <a:solidFill>
                  <a:schemeClr val="tx1"/>
                </a:solidFill>
              </a:rPr>
              <a:t>B4P</a:t>
            </a:r>
            <a:r>
              <a:rPr lang="en-US" sz="1000" b="1" dirty="0">
                <a:solidFill>
                  <a:schemeClr val="tx1"/>
                </a:solidFill>
              </a:rPr>
              <a:t> Program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8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7E75268-8B25-4E8A-A635-E2D3EE1CB409}"/>
              </a:ext>
            </a:extLst>
          </p:cNvPr>
          <p:cNvCxnSpPr>
            <a:cxnSpLocks/>
          </p:cNvCxnSpPr>
          <p:nvPr/>
        </p:nvCxnSpPr>
        <p:spPr>
          <a:xfrm>
            <a:off x="3636000" y="1125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97F97C5-2A30-4CC9-A502-94ED5EBD1BA5}"/>
              </a:ext>
            </a:extLst>
          </p:cNvPr>
          <p:cNvCxnSpPr>
            <a:cxnSpLocks/>
          </p:cNvCxnSpPr>
          <p:nvPr/>
        </p:nvCxnSpPr>
        <p:spPr>
          <a:xfrm>
            <a:off x="3636000" y="1557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34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21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997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vailable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781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445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 only)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57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78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997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Specifie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program available?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13D853E-F0C9-4B95-9535-B15CAC43C002}"/>
              </a:ext>
            </a:extLst>
          </p:cNvPr>
          <p:cNvSpPr/>
          <p:nvPr/>
        </p:nvSpPr>
        <p:spPr>
          <a:xfrm>
            <a:off x="396000" y="44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file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</p:cNvCxnSpPr>
          <p:nvPr/>
        </p:nvCxnSpPr>
        <p:spPr>
          <a:xfrm>
            <a:off x="1404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60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2132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 file name specified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2133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 err="1">
                <a:solidFill>
                  <a:schemeClr val="tx1"/>
                </a:solidFill>
              </a:rPr>
              <a:t>B4P</a:t>
            </a:r>
            <a:r>
              <a:rPr lang="en-US" sz="800" dirty="0">
                <a:solidFill>
                  <a:schemeClr val="tx1"/>
                </a:solidFill>
              </a:rPr>
              <a:t> Program file name has been specified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A4A10EE-B093-4F35-ABE2-97335DEC0167}"/>
              </a:ext>
            </a:extLst>
          </p:cNvPr>
          <p:cNvSpPr/>
          <p:nvPr/>
        </p:nvSpPr>
        <p:spPr>
          <a:xfrm>
            <a:off x="396000" y="378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vide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rguments as system variables</a:t>
            </a:r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05F7EBBB-486F-4C36-BCC8-8907F20FCFCE}"/>
              </a:ext>
            </a:extLst>
          </p:cNvPr>
          <p:cNvCxnSpPr>
            <a:cxnSpLocks/>
          </p:cNvCxnSpPr>
          <p:nvPr/>
        </p:nvCxnSpPr>
        <p:spPr>
          <a:xfrm>
            <a:off x="5868000" y="3573000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932000" y="837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* Action may be skipped depending</a:t>
            </a:r>
          </a:p>
          <a:p>
            <a:r>
              <a:rPr lang="en-US" sz="800" dirty="0">
                <a:solidFill>
                  <a:schemeClr val="tx1"/>
                </a:solidFill>
              </a:rPr>
              <a:t>  on chosen command-line switches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2495516A-F87B-43AC-973A-707788770D08}"/>
              </a:ext>
            </a:extLst>
          </p:cNvPr>
          <p:cNvCxnSpPr>
            <a:cxnSpLocks/>
          </p:cNvCxnSpPr>
          <p:nvPr/>
        </p:nvCxnSpPr>
        <p:spPr>
          <a:xfrm flipH="1">
            <a:off x="2412000" y="4005000"/>
            <a:ext cx="1152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229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3636000" y="2925000"/>
            <a:ext cx="0" cy="20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E01A103-3472-4DB1-A048-142176A48BA0}"/>
              </a:ext>
            </a:extLst>
          </p:cNvPr>
          <p:cNvCxnSpPr>
            <a:cxnSpLocks/>
          </p:cNvCxnSpPr>
          <p:nvPr/>
        </p:nvCxnSpPr>
        <p:spPr>
          <a:xfrm flipH="1">
            <a:off x="3708000" y="4005000"/>
            <a:ext cx="2160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853000"/>
            <a:ext cx="1368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Option to enter interactive mode</a:t>
            </a:r>
          </a:p>
          <a:p>
            <a:r>
              <a:rPr lang="en-US" sz="800" dirty="0">
                <a:solidFill>
                  <a:schemeClr val="tx1"/>
                </a:solidFill>
              </a:rPr>
              <a:t>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2A96DF3-50C6-4807-8D71-C7C9C8AB600E}"/>
              </a:ext>
            </a:extLst>
          </p:cNvPr>
          <p:cNvCxnSpPr>
            <a:cxnSpLocks/>
          </p:cNvCxnSpPr>
          <p:nvPr/>
        </p:nvCxnSpPr>
        <p:spPr>
          <a:xfrm>
            <a:off x="1404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941000"/>
            <a:ext cx="424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733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733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7A0E850-4BC5-42D3-A5CF-47155EDE64FE}"/>
              </a:ext>
            </a:extLst>
          </p:cNvPr>
          <p:cNvCxnSpPr>
            <a:cxnSpLocks/>
          </p:cNvCxnSpPr>
          <p:nvPr/>
        </p:nvCxnSpPr>
        <p:spPr>
          <a:xfrm>
            <a:off x="2412000" y="4581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B786CCE6-6D0B-446F-B834-465FBAD7B347}"/>
              </a:ext>
            </a:extLst>
          </p:cNvPr>
          <p:cNvSpPr/>
          <p:nvPr/>
        </p:nvSpPr>
        <p:spPr>
          <a:xfrm>
            <a:off x="2412000" y="4581000"/>
            <a:ext cx="93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accessible</a:t>
            </a:r>
          </a:p>
          <a:p>
            <a:r>
              <a:rPr lang="en-US" sz="800" dirty="0">
                <a:solidFill>
                  <a:schemeClr val="tx1"/>
                </a:solidFill>
              </a:rPr>
              <a:t>or locked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CA6AF3-0270-45E8-8070-ADF967272428}"/>
              </a:ext>
            </a:extLst>
          </p:cNvPr>
          <p:cNvSpPr/>
          <p:nvPr/>
        </p:nvSpPr>
        <p:spPr>
          <a:xfrm>
            <a:off x="4860000" y="4436904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if existi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2D4CBD8-89AC-4913-A233-BF4A45765F84}"/>
              </a:ext>
            </a:extLst>
          </p:cNvPr>
          <p:cNvSpPr/>
          <p:nvPr/>
        </p:nvSpPr>
        <p:spPr>
          <a:xfrm>
            <a:off x="4860000" y="4940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 default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librarie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231599F-DC1A-406C-8664-B6EDBF11697B}"/>
              </a:ext>
            </a:extLst>
          </p:cNvPr>
          <p:cNvSpPr/>
          <p:nvPr/>
        </p:nvSpPr>
        <p:spPr>
          <a:xfrm>
            <a:off x="4860000" y="5444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gai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128DDCA-BEE4-4929-91C5-1EF6D4E8219B}"/>
              </a:ext>
            </a:extLst>
          </p:cNvPr>
          <p:cNvCxnSpPr>
            <a:cxnSpLocks/>
          </p:cNvCxnSpPr>
          <p:nvPr/>
        </p:nvCxnSpPr>
        <p:spPr>
          <a:xfrm flipV="1">
            <a:off x="4644000" y="4437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23A190C-8FFD-4B17-8527-52B19C52876B}"/>
              </a:ext>
            </a:extLst>
          </p:cNvPr>
          <p:cNvCxnSpPr>
            <a:cxnSpLocks/>
          </p:cNvCxnSpPr>
          <p:nvPr/>
        </p:nvCxnSpPr>
        <p:spPr>
          <a:xfrm>
            <a:off x="4644000" y="5229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CFEF118-B761-42D5-9631-80E9BFDEF855}"/>
              </a:ext>
            </a:extLst>
          </p:cNvPr>
          <p:cNvCxnSpPr>
            <a:cxnSpLocks/>
          </p:cNvCxnSpPr>
          <p:nvPr/>
        </p:nvCxnSpPr>
        <p:spPr>
          <a:xfrm>
            <a:off x="5868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4A7F2212-4028-4A13-92C4-32F5C490694A}"/>
              </a:ext>
            </a:extLst>
          </p:cNvPr>
          <p:cNvCxnSpPr>
            <a:cxnSpLocks/>
          </p:cNvCxnSpPr>
          <p:nvPr/>
        </p:nvCxnSpPr>
        <p:spPr>
          <a:xfrm>
            <a:off x="5868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7A6AC1E-3493-4245-A6D6-6C596AD17620}"/>
              </a:ext>
            </a:extLst>
          </p:cNvPr>
          <p:cNvSpPr/>
          <p:nvPr/>
        </p:nvSpPr>
        <p:spPr>
          <a:xfrm>
            <a:off x="4860000" y="4221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>
                <a:solidFill>
                  <a:schemeClr val="tx1"/>
                </a:solidFill>
              </a:rPr>
              <a:t>Do 1st </a:t>
            </a:r>
            <a:r>
              <a:rPr lang="en-US" sz="800" dirty="0">
                <a:solidFill>
                  <a:schemeClr val="tx1"/>
                </a:solidFill>
              </a:rPr>
              <a:t>code block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A8FD6F-8AAD-41B9-B976-D10FBC45A9AB}"/>
              </a:ext>
            </a:extLst>
          </p:cNvPr>
          <p:cNvSpPr/>
          <p:nvPr/>
        </p:nvSpPr>
        <p:spPr>
          <a:xfrm>
            <a:off x="4860000" y="522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Do 2nd code block</a:t>
            </a: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AA273494-E2A1-4AF1-B5F1-7DD5179E5BF4}"/>
              </a:ext>
            </a:extLst>
          </p:cNvPr>
          <p:cNvCxnSpPr>
            <a:cxnSpLocks/>
          </p:cNvCxnSpPr>
          <p:nvPr/>
        </p:nvCxnSpPr>
        <p:spPr>
          <a:xfrm>
            <a:off x="5868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631199C1-B38D-42AE-A8EA-F866B0025F84}"/>
              </a:ext>
            </a:extLst>
          </p:cNvPr>
          <p:cNvCxnSpPr>
            <a:cxnSpLocks/>
          </p:cNvCxnSpPr>
          <p:nvPr/>
        </p:nvCxnSpPr>
        <p:spPr>
          <a:xfrm>
            <a:off x="5868000" y="57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7740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0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241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6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7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4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26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5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126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9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71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48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500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6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702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78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0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241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126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6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737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6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2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40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0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126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241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356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471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586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702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817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E1916B-A96F-45A4-B2DB-3A890EED082D}"/>
              </a:ext>
            </a:extLst>
          </p:cNvPr>
          <p:cNvSpPr/>
          <p:nvPr/>
        </p:nvSpPr>
        <p:spPr>
          <a:xfrm>
            <a:off x="36000" y="981000"/>
            <a:ext cx="2232000" cy="1440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chemeClr val="tx1"/>
                </a:solidFill>
              </a:rPr>
              <a:t>Lauch</a:t>
            </a:r>
            <a:r>
              <a:rPr lang="en-US" sz="1000" dirty="0">
                <a:solidFill>
                  <a:schemeClr val="tx1"/>
                </a:solidFill>
              </a:rPr>
              <a:t>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de execu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2C29BE-EAFB-43C6-9803-85E7D0311EC4}"/>
              </a:ext>
            </a:extLst>
          </p:cNvPr>
          <p:cNvSpPr/>
          <p:nvPr/>
        </p:nvSpPr>
        <p:spPr>
          <a:xfrm>
            <a:off x="36000" y="2493000"/>
            <a:ext cx="2232000" cy="79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Consle</a:t>
            </a:r>
            <a:r>
              <a:rPr lang="en-US" sz="1200" b="1" dirty="0">
                <a:solidFill>
                  <a:schemeClr val="tx1"/>
                </a:solidFill>
              </a:rPr>
              <a:t> I/O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 (echo, input, .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45363B-C0D0-4599-967D-C0BE8673F1EA}"/>
              </a:ext>
            </a:extLst>
          </p:cNvPr>
          <p:cNvSpPr/>
          <p:nvPr/>
        </p:nvSpPr>
        <p:spPr>
          <a:xfrm>
            <a:off x="36000" y="3357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. Format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BBB3F0D-3297-4955-B5EA-A06F99C1D8A3}"/>
              </a:ext>
            </a:extLst>
          </p:cNvPr>
          <p:cNvSpPr/>
          <p:nvPr/>
        </p:nvSpPr>
        <p:spPr>
          <a:xfrm>
            <a:off x="2340000" y="981000"/>
            <a:ext cx="2232000" cy="136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8D52D5E-256A-4717-8AE1-F0595B76F937}"/>
              </a:ext>
            </a:extLst>
          </p:cNvPr>
          <p:cNvSpPr/>
          <p:nvPr/>
        </p:nvSpPr>
        <p:spPr>
          <a:xfrm>
            <a:off x="2340000" y="2421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encoding and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string func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3CC33A6-6945-45DB-A371-67D1C2D5FAF9}"/>
              </a:ext>
            </a:extLst>
          </p:cNvPr>
          <p:cNvSpPr/>
          <p:nvPr/>
        </p:nvSpPr>
        <p:spPr>
          <a:xfrm>
            <a:off x="2340000" y="3213000"/>
            <a:ext cx="2232000" cy="93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and reschedul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6D7E4C6-25B6-4558-9727-E5D9F523B3BA}"/>
              </a:ext>
            </a:extLst>
          </p:cNvPr>
          <p:cNvSpPr/>
          <p:nvPr/>
        </p:nvSpPr>
        <p:spPr>
          <a:xfrm>
            <a:off x="2340000" y="4221000"/>
            <a:ext cx="2232000" cy="43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search &amp; extract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4D45550-7F32-4714-A5D6-1B6484C1B68A}"/>
              </a:ext>
            </a:extLst>
          </p:cNvPr>
          <p:cNvSpPr/>
          <p:nvPr/>
        </p:nvSpPr>
        <p:spPr>
          <a:xfrm>
            <a:off x="4644000" y="981000"/>
            <a:ext cx="2232000" cy="237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I/O wit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ing, writing, reading, del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ing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ing and explor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trol flow functions fo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Headers, columns, rows, cell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pivoting, consolidating, etc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ulti-table integrat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paring, validating, lookup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combining multiple table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ing and styl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Making the final touch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C6242F2-1362-4166-9177-6B08BB4D8874}"/>
              </a:ext>
            </a:extLst>
          </p:cNvPr>
          <p:cNvSpPr/>
          <p:nvPr/>
        </p:nvSpPr>
        <p:spPr>
          <a:xfrm>
            <a:off x="4644000" y="3429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s function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229E2CC-5971-4446-8F15-1BC04250557A}"/>
              </a:ext>
            </a:extLst>
          </p:cNvPr>
          <p:cNvSpPr/>
          <p:nvPr/>
        </p:nvSpPr>
        <p:spPr>
          <a:xfrm>
            <a:off x="6948000" y="981000"/>
            <a:ext cx="2232000" cy="12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 directory and fi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ie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symolic</a:t>
            </a:r>
            <a:r>
              <a:rPr lang="en-US" sz="1000" dirty="0">
                <a:solidFill>
                  <a:schemeClr val="tx1"/>
                </a:solidFill>
              </a:rPr>
              <a:t>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&amp; decompressio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241ADF3-C154-4DFE-9485-79E26D04FEA4}"/>
              </a:ext>
            </a:extLst>
          </p:cNvPr>
          <p:cNvSpPr/>
          <p:nvPr/>
        </p:nvSpPr>
        <p:spPr>
          <a:xfrm>
            <a:off x="6931680" y="2349000"/>
            <a:ext cx="2232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F9F0305-B84F-45BF-805A-5963757D46A7}"/>
              </a:ext>
            </a:extLst>
          </p:cNvPr>
          <p:cNvSpPr/>
          <p:nvPr/>
        </p:nvSpPr>
        <p:spPr>
          <a:xfrm>
            <a:off x="6948000" y="3213000"/>
            <a:ext cx="2232000" cy="144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cs, docs search (on-line doc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, view re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 / explain / dump functions</a:t>
            </a:r>
          </a:p>
        </p:txBody>
      </p:sp>
    </p:spTree>
    <p:extLst>
      <p:ext uri="{BB962C8B-B14F-4D97-AF65-F5344CB8AC3E}">
        <p14:creationId xmlns:p14="http://schemas.microsoft.com/office/powerpoint/2010/main" val="16444767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>
            <a:extLst>
              <a:ext uri="{FF2B5EF4-FFF2-40B4-BE49-F238E27FC236}">
                <a16:creationId xmlns:a16="http://schemas.microsoft.com/office/drawing/2014/main" id="{53B60B36-2CDE-4FEE-95F0-FB83DED578BC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E548A823-DABF-4834-9472-2468787572F0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D50575B-D5D0-450D-ACE1-8D39C713CFB0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A39F9B5D-F778-4071-A3ED-7DFDE1CDABD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F0A86231-682E-4B6C-9DB1-E16574540C3D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5A526ED-C9DC-434C-8712-6D58CB6AE346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5628C535-3CCD-4B86-B65B-DFE3E64A35F7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76C69CEE-1F32-47EB-A52C-4A1C3F254A7C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ge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digest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797000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matching rows will be </a:t>
            </a:r>
            <a:r>
              <a:rPr lang="en-US" sz="1000" i="1" dirty="0">
                <a:solidFill>
                  <a:schemeClr val="tx1"/>
                </a:solidFill>
              </a:rPr>
              <a:t>digested</a:t>
            </a:r>
            <a:r>
              <a:rPr lang="en-US" sz="1000" dirty="0">
                <a:solidFill>
                  <a:schemeClr val="tx1"/>
                </a:solidFill>
              </a:rPr>
              <a:t> into the target table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723856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FA91F31E-8DD2-4E83-941D-5DF4BBC09D00}"/>
              </a:ext>
            </a:extLst>
          </p:cNvPr>
          <p:cNvSpPr/>
          <p:nvPr/>
        </p:nvSpPr>
        <p:spPr>
          <a:xfrm>
            <a:off x="5220130" y="119700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A6F0C1C9-2C21-4E4C-B0B7-5ED1E99F7FBE}"/>
              </a:ext>
            </a:extLst>
          </p:cNvPr>
          <p:cNvSpPr/>
          <p:nvPr/>
        </p:nvSpPr>
        <p:spPr>
          <a:xfrm>
            <a:off x="4788070" y="119700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DBE0BEB9-FFEB-4712-B27F-5D4DAB9DB3BC}"/>
              </a:ext>
            </a:extLst>
          </p:cNvPr>
          <p:cNvSpPr/>
          <p:nvPr/>
        </p:nvSpPr>
        <p:spPr>
          <a:xfrm>
            <a:off x="4284000" y="112499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0CE68F2D-686A-4D6A-98DE-E239E17D6A54}"/>
              </a:ext>
            </a:extLst>
          </p:cNvPr>
          <p:cNvSpPr/>
          <p:nvPr/>
        </p:nvSpPr>
        <p:spPr>
          <a:xfrm>
            <a:off x="4284000" y="119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58FB65FF-0729-4F61-98A3-1D2E4F0A8A52}"/>
              </a:ext>
            </a:extLst>
          </p:cNvPr>
          <p:cNvSpPr/>
          <p:nvPr/>
        </p:nvSpPr>
        <p:spPr>
          <a:xfrm>
            <a:off x="4500030" y="119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0" name="Gerade Verbindung 374">
            <a:extLst>
              <a:ext uri="{FF2B5EF4-FFF2-40B4-BE49-F238E27FC236}">
                <a16:creationId xmlns:a16="http://schemas.microsoft.com/office/drawing/2014/main" id="{29A092CD-B3FA-48A9-91BD-BA4475F5FF84}"/>
              </a:ext>
            </a:extLst>
          </p:cNvPr>
          <p:cNvCxnSpPr/>
          <p:nvPr/>
        </p:nvCxnSpPr>
        <p:spPr>
          <a:xfrm>
            <a:off x="4284000" y="119700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Rechteck 270">
            <a:extLst>
              <a:ext uri="{FF2B5EF4-FFF2-40B4-BE49-F238E27FC236}">
                <a16:creationId xmlns:a16="http://schemas.microsoft.com/office/drawing/2014/main" id="{5885318F-5CAA-4DC5-95E9-340D21815692}"/>
              </a:ext>
            </a:extLst>
          </p:cNvPr>
          <p:cNvSpPr/>
          <p:nvPr/>
        </p:nvSpPr>
        <p:spPr>
          <a:xfrm>
            <a:off x="4284000" y="14850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ABFF834D-48BB-4A31-AC31-503513F38384}"/>
              </a:ext>
            </a:extLst>
          </p:cNvPr>
          <p:cNvSpPr/>
          <p:nvPr/>
        </p:nvSpPr>
        <p:spPr>
          <a:xfrm>
            <a:off x="478807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A4011EA9-4C6E-4397-8596-1A4FEFB1B6AF}"/>
              </a:ext>
            </a:extLst>
          </p:cNvPr>
          <p:cNvSpPr/>
          <p:nvPr/>
        </p:nvSpPr>
        <p:spPr>
          <a:xfrm>
            <a:off x="493209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CBD742C8-913E-49EA-B0FE-33D9E6EA7E9C}"/>
              </a:ext>
            </a:extLst>
          </p:cNvPr>
          <p:cNvSpPr/>
          <p:nvPr/>
        </p:nvSpPr>
        <p:spPr>
          <a:xfrm>
            <a:off x="522013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815767A-2F47-4412-849F-54AB7CD290D2}"/>
              </a:ext>
            </a:extLst>
          </p:cNvPr>
          <p:cNvSpPr/>
          <p:nvPr/>
        </p:nvSpPr>
        <p:spPr>
          <a:xfrm>
            <a:off x="4500030" y="148502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BB7308C7-2608-491A-B9F1-4EBA3C6D7497}"/>
              </a:ext>
            </a:extLst>
          </p:cNvPr>
          <p:cNvSpPr/>
          <p:nvPr/>
        </p:nvSpPr>
        <p:spPr>
          <a:xfrm>
            <a:off x="4284000" y="18450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>
            <a:extLst>
              <a:ext uri="{FF2B5EF4-FFF2-40B4-BE49-F238E27FC236}">
                <a16:creationId xmlns:a16="http://schemas.microsoft.com/office/drawing/2014/main" id="{AF32D689-E58A-4BAF-B30B-698FDCDCD741}"/>
              </a:ext>
            </a:extLst>
          </p:cNvPr>
          <p:cNvSpPr/>
          <p:nvPr/>
        </p:nvSpPr>
        <p:spPr>
          <a:xfrm>
            <a:off x="478807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A4BA50DF-0D3C-48E4-9DD4-27A16384F288}"/>
              </a:ext>
            </a:extLst>
          </p:cNvPr>
          <p:cNvSpPr/>
          <p:nvPr/>
        </p:nvSpPr>
        <p:spPr>
          <a:xfrm>
            <a:off x="493209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A77D56C8-AAD1-4C3F-932D-32682F183994}"/>
              </a:ext>
            </a:extLst>
          </p:cNvPr>
          <p:cNvSpPr/>
          <p:nvPr/>
        </p:nvSpPr>
        <p:spPr>
          <a:xfrm>
            <a:off x="522013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2F1A50D6-E93B-4220-8532-DAE17819BC91}"/>
              </a:ext>
            </a:extLst>
          </p:cNvPr>
          <p:cNvSpPr/>
          <p:nvPr/>
        </p:nvSpPr>
        <p:spPr>
          <a:xfrm>
            <a:off x="4500030" y="18450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241320158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fast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3B5C5B38-243A-4138-A963-FFBFFEE7AB21}"/>
              </a:ext>
            </a:extLst>
          </p:cNvPr>
          <p:cNvSpPr/>
          <p:nvPr/>
        </p:nvSpPr>
        <p:spPr>
          <a:xfrm>
            <a:off x="2196488" y="693000"/>
            <a:ext cx="216000" cy="122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il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D8B0F09-952F-4876-ABEB-73FBAE86C6D2}"/>
              </a:ext>
            </a:extLst>
          </p:cNvPr>
          <p:cNvSpPr/>
          <p:nvPr/>
        </p:nvSpPr>
        <p:spPr>
          <a:xfrm>
            <a:off x="1620000" y="1052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C652E1D3-6256-4E30-AD7C-6BD744C4185F}"/>
              </a:ext>
            </a:extLst>
          </p:cNvPr>
          <p:cNvSpPr/>
          <p:nvPr/>
        </p:nvSpPr>
        <p:spPr>
          <a:xfrm>
            <a:off x="2484488" y="1413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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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A7CB54A-9EE4-4ACC-9703-2F842D05AF42}"/>
              </a:ext>
            </a:extLst>
          </p:cNvPr>
          <p:cNvSpPr/>
          <p:nvPr/>
        </p:nvSpPr>
        <p:spPr>
          <a:xfrm>
            <a:off x="2484488" y="837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+1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314B06D4-E9AD-496E-934A-C6D3F81394AF}"/>
              </a:ext>
            </a:extLst>
          </p:cNvPr>
          <p:cNvCxnSpPr>
            <a:cxnSpLocks/>
          </p:cNvCxnSpPr>
          <p:nvPr/>
        </p:nvCxnSpPr>
        <p:spPr>
          <a:xfrm>
            <a:off x="2532673" y="1125000"/>
            <a:ext cx="7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CAE0772-23EC-414A-9229-0F7583324F3D}"/>
              </a:ext>
            </a:extLst>
          </p:cNvPr>
          <p:cNvSpPr/>
          <p:nvPr/>
        </p:nvSpPr>
        <p:spPr>
          <a:xfrm>
            <a:off x="2844488" y="11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ADE2C554-F8FC-42C7-9E76-25468897BACB}"/>
              </a:ext>
            </a:extLst>
          </p:cNvPr>
          <p:cNvSpPr/>
          <p:nvPr/>
        </p:nvSpPr>
        <p:spPr>
          <a:xfrm>
            <a:off x="3636488" y="837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</a:t>
            </a:r>
            <a:r>
              <a:rPr lang="en-US" sz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whole number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4BEB614-6231-45B2-AA4C-7E861FE64E0F}"/>
              </a:ext>
            </a:extLst>
          </p:cNvPr>
          <p:cNvSpPr/>
          <p:nvPr/>
        </p:nvSpPr>
        <p:spPr>
          <a:xfrm>
            <a:off x="3636488" y="1341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wise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2DFA5E42-07F2-46A4-B8A9-FFA49CBC3572}"/>
              </a:ext>
            </a:extLst>
          </p:cNvPr>
          <p:cNvSpPr/>
          <p:nvPr/>
        </p:nvSpPr>
        <p:spPr>
          <a:xfrm>
            <a:off x="2124488" y="765000"/>
            <a:ext cx="216000" cy="108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5F30551-B4BC-4339-8665-C47561B1E2C7}"/>
              </a:ext>
            </a:extLst>
          </p:cNvPr>
          <p:cNvSpPr/>
          <p:nvPr/>
        </p:nvSpPr>
        <p:spPr>
          <a:xfrm>
            <a:off x="1620000" y="980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~</a:t>
            </a:r>
          </a:p>
        </p:txBody>
      </p:sp>
    </p:spTree>
    <p:extLst>
      <p:ext uri="{BB962C8B-B14F-4D97-AF65-F5344CB8AC3E}">
        <p14:creationId xmlns:p14="http://schemas.microsoft.com/office/powerpoint/2010/main" val="1870281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3057</Words>
  <Application>Microsoft Office PowerPoint</Application>
  <PresentationFormat>Bildschirmpräsentation (4:3)</PresentationFormat>
  <Paragraphs>3338</Paragraphs>
  <Slides>71</Slides>
  <Notes>4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1</vt:i4>
      </vt:variant>
    </vt:vector>
  </HeadingPairs>
  <TitlesOfParts>
    <vt:vector size="78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Behavior Introduction</vt:lpstr>
      <vt:lpstr>Variable Model Introduction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Functions Overview </vt:lpstr>
      <vt:lpstr>Functions Overview </vt:lpstr>
      <vt:lpstr>Table Comparis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Dige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  <vt:lpstr>Quantiles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613</cp:revision>
  <cp:lastPrinted>2014-03-14T08:12:43Z</cp:lastPrinted>
  <dcterms:created xsi:type="dcterms:W3CDTF">2013-11-22T07:35:27Z</dcterms:created>
  <dcterms:modified xsi:type="dcterms:W3CDTF">2021-05-26T20:57:24Z</dcterms:modified>
</cp:coreProperties>
</file>